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1200" y="120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0D603E06-4C27-472E-B54D-CF6F5E9026AE}"/>
    <pc:docChg chg="modSld">
      <pc:chgData name="Meyer Raphael (PAR-ES)" userId="79615dfe-ed48-4e74-a40f-4f7b034c1c27" providerId="ADAL" clId="{0D603E06-4C27-472E-B54D-CF6F5E9026AE}" dt="2023-02-24T13:52:04.870" v="3" actId="27918"/>
      <pc:docMkLst>
        <pc:docMk/>
      </pc:docMkLst>
      <pc:sldChg chg="mod">
        <pc:chgData name="Meyer Raphael (PAR-ES)" userId="79615dfe-ed48-4e74-a40f-4f7b034c1c27" providerId="ADAL" clId="{0D603E06-4C27-472E-B54D-CF6F5E9026AE}" dt="2023-02-24T13:52:04.870" v="3" actId="27918"/>
        <pc:sldMkLst>
          <pc:docMk/>
          <pc:sldMk cId="2844382326" sldId="415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FD150C17-30C0-4630-B813-78D84552C8D0}"/>
    <pc:docChg chg="delSld">
      <pc:chgData name="Meyer Raphael (PAR-ES)" userId="79615dfe-ed48-4e74-a40f-4f7b034c1c27" providerId="ADAL" clId="{FD150C17-30C0-4630-B813-78D84552C8D0}" dt="2022-03-09T15:49:40.336" v="1" actId="47"/>
      <pc:docMkLst>
        <pc:docMk/>
      </pc:docMkLst>
      <pc:sldChg chg="del">
        <pc:chgData name="Meyer Raphael (PAR-ES)" userId="79615dfe-ed48-4e74-a40f-4f7b034c1c27" providerId="ADAL" clId="{FD150C17-30C0-4630-B813-78D84552C8D0}" dt="2022-03-09T15:49:37.888" v="0" actId="47"/>
        <pc:sldMkLst>
          <pc:docMk/>
          <pc:sldMk cId="1774855510" sldId="414"/>
        </pc:sldMkLst>
      </pc:sldChg>
      <pc:sldChg chg="del">
        <pc:chgData name="Meyer Raphael (PAR-ES)" userId="79615dfe-ed48-4e74-a40f-4f7b034c1c27" providerId="ADAL" clId="{FD150C17-30C0-4630-B813-78D84552C8D0}" dt="2022-03-09T15:49:40.336" v="1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FD150C17-30C0-4630-B813-78D84552C8D0}" dt="2022-03-09T15:49:40.336" v="1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4269C634-0811-44AE-8B11-1DCC3B43148A}"/>
    <pc:docChg chg="modSld">
      <pc:chgData name="Weigel Stefan (PAR-EPS)" userId="fd3b2067-2981-4ad8-bf3a-d2e1004e4fa8" providerId="ADAL" clId="{4269C634-0811-44AE-8B11-1DCC3B43148A}" dt="2024-02-02T10:55:21.097" v="14" actId="27918"/>
      <pc:docMkLst>
        <pc:docMk/>
      </pc:docMkLst>
      <pc:sldChg chg="modSp mod">
        <pc:chgData name="Weigel Stefan (PAR-EPS)" userId="fd3b2067-2981-4ad8-bf3a-d2e1004e4fa8" providerId="ADAL" clId="{4269C634-0811-44AE-8B11-1DCC3B43148A}" dt="2024-02-02T10:55:21.097" v="14" actId="27918"/>
        <pc:sldMkLst>
          <pc:docMk/>
          <pc:sldMk cId="2844382326" sldId="415"/>
        </pc:sldMkLst>
        <pc:spChg chg="mod">
          <ac:chgData name="Weigel Stefan (PAR-EPS)" userId="fd3b2067-2981-4ad8-bf3a-d2e1004e4fa8" providerId="ADAL" clId="{4269C634-0811-44AE-8B11-1DCC3B43148A}" dt="2024-02-02T10:50:28.837" v="11" actId="790"/>
          <ac:spMkLst>
            <pc:docMk/>
            <pc:sldMk cId="2844382326" sldId="415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11994653139294"/>
          <c:y val="9.0418972003334305E-2"/>
          <c:w val="0.80208017766789419"/>
          <c:h val="0.6546779845834254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GA Travelcards (network season tickets)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.000</c:formatCode>
                <c:ptCount val="11"/>
                <c:pt idx="0">
                  <c:v>0.44189200000000001</c:v>
                </c:pt>
                <c:pt idx="1">
                  <c:v>0.45277399999999995</c:v>
                </c:pt>
                <c:pt idx="2">
                  <c:v>0.46013499999999996</c:v>
                </c:pt>
                <c:pt idx="3">
                  <c:v>0.47218299999999996</c:v>
                </c:pt>
                <c:pt idx="4">
                  <c:v>0.48016999999999999</c:v>
                </c:pt>
                <c:pt idx="5">
                  <c:v>0.490205</c:v>
                </c:pt>
                <c:pt idx="6">
                  <c:v>0.49952999999999997</c:v>
                </c:pt>
                <c:pt idx="7">
                  <c:v>0.43870999999999999</c:v>
                </c:pt>
                <c:pt idx="8">
                  <c:v>0.40637099999999998</c:v>
                </c:pt>
                <c:pt idx="9">
                  <c:v>0.43076799999999998</c:v>
                </c:pt>
                <c:pt idx="10">
                  <c:v>0.447165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9-4358-BCC4-FBFA45F1A298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Half Fare Travelcards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.000</c:formatCode>
                <c:ptCount val="11"/>
                <c:pt idx="0">
                  <c:v>2.3354409999999999</c:v>
                </c:pt>
                <c:pt idx="1">
                  <c:v>2.343696</c:v>
                </c:pt>
                <c:pt idx="2">
                  <c:v>2.3324039999999999</c:v>
                </c:pt>
                <c:pt idx="3">
                  <c:v>2.3949219999999998</c:v>
                </c:pt>
                <c:pt idx="4">
                  <c:v>2.5310319999999997</c:v>
                </c:pt>
                <c:pt idx="5">
                  <c:v>2.597655</c:v>
                </c:pt>
                <c:pt idx="6">
                  <c:v>2.7219449999999998</c:v>
                </c:pt>
                <c:pt idx="7">
                  <c:v>2.720812</c:v>
                </c:pt>
                <c:pt idx="8">
                  <c:v>2.828964</c:v>
                </c:pt>
                <c:pt idx="9">
                  <c:v>2.9686149999999998</c:v>
                </c:pt>
                <c:pt idx="10">
                  <c:v>3.146678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19-4358-BCC4-FBFA45F1A2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4979584"/>
        <c:axId val="114981120"/>
      </c:barChart>
      <c:catAx>
        <c:axId val="114979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>
                <a:latin typeface="+mn-lt"/>
              </a:defRPr>
            </a:pPr>
            <a:endParaRPr lang="de-DE"/>
          </a:p>
        </c:txPr>
        <c:crossAx val="114981120"/>
        <c:crosses val="autoZero"/>
        <c:auto val="1"/>
        <c:lblAlgn val="ctr"/>
        <c:lblOffset val="100"/>
        <c:noMultiLvlLbl val="0"/>
      </c:catAx>
      <c:valAx>
        <c:axId val="114981120"/>
        <c:scaling>
          <c:orientation val="minMax"/>
          <c:max val="4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ln>
            <a:noFill/>
          </a:ln>
        </c:spPr>
        <c:crossAx val="1149795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8.4297094364984851E-2"/>
          <c:y val="0.82582619369142318"/>
          <c:w val="0.44749277872779103"/>
          <c:h val="5.472318412195201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283</cdr:x>
      <cdr:y>0.01177</cdr:y>
    </cdr:from>
    <cdr:to>
      <cdr:x>0.1791</cdr:x>
      <cdr:y>0.06242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79436" y="52653"/>
          <a:ext cx="1257323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 err="1">
              <a:solidFill>
                <a:srgbClr val="444444"/>
              </a:solidFill>
              <a:cs typeface="Arial" pitchFamily="34" charset="0"/>
            </a:rPr>
            <a:t>Millions</a:t>
          </a:r>
          <a:r>
            <a:rPr lang="de-CH" sz="1000" dirty="0">
              <a:solidFill>
                <a:srgbClr val="444444"/>
              </a:solidFill>
              <a:cs typeface="Arial" pitchFamily="34" charset="0"/>
            </a:rPr>
            <a:t> </a:t>
          </a:r>
          <a:r>
            <a:rPr lang="de-CH" sz="1000" dirty="0" err="1">
              <a:solidFill>
                <a:srgbClr val="444444"/>
              </a:solidFill>
              <a:cs typeface="Arial" pitchFamily="34" charset="0"/>
            </a:rPr>
            <a:t>of</a:t>
          </a:r>
          <a:r>
            <a:rPr lang="de-CH" sz="1000" dirty="0">
              <a:solidFill>
                <a:srgbClr val="444444"/>
              </a:solidFill>
              <a:cs typeface="Arial" pitchFamily="34" charset="0"/>
            </a:rPr>
            <a:t> </a:t>
          </a:r>
          <a:r>
            <a:rPr lang="de-CH" sz="1000" dirty="0" err="1">
              <a:solidFill>
                <a:srgbClr val="444444"/>
              </a:solidFill>
              <a:cs typeface="Arial" pitchFamily="34" charset="0"/>
            </a:rPr>
            <a:t>travelcards</a:t>
          </a:r>
          <a:endParaRPr lang="de-CH" sz="1000" dirty="0">
            <a:solidFill>
              <a:srgbClr val="444444"/>
            </a:solidFill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7235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ular customers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92136404"/>
              </p:ext>
            </p:extLst>
          </p:nvPr>
        </p:nvGraphicFramePr>
        <p:xfrm>
          <a:off x="827254" y="1835228"/>
          <a:ext cx="10813884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F31F2D2-504B-4B14-95D4-0B8BCA2C629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ational Direct Service GA Travelcards and Half Fare Travelcards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97E4419-A7A8-4264-97B0-3A44B6658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44382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purl.org/dc/dcmitype/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B23C29-E4D7-4F85-905C-54F9660AE7F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Regular customer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ular customers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4-02-02T11:5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